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57" r:id="rId2"/>
    <p:sldId id="358" r:id="rId3"/>
  </p:sldIdLst>
  <p:sldSz cx="10691813" cy="7559675"/>
  <p:notesSz cx="7315200" cy="9601200"/>
  <p:custDataLst>
    <p:tags r:id="rId6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78" d="100"/>
          <a:sy n="78" d="100"/>
        </p:scale>
        <p:origin x="1200" y="6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ru-UA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7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© 2017 XXX</a:t>
            </a:r>
            <a:endParaRPr lang="fr-FR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c="http://schemas.openxmlformats.org/drawingml/2006/chart" xmlns:v="urn:schemas-microsoft-com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1</Words>
  <Application>Microsoft Office PowerPoint</Application>
  <PresentationFormat>Произвольный</PresentationFormat>
  <Paragraphs>1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6" baseType="lpstr">
      <vt:lpstr>Arial</vt:lpstr>
      <vt:lpstr>Verdana</vt:lpstr>
      <vt:lpstr>2 Slides</vt:lpstr>
      <vt:lpstr>think-cell Slide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4-27T18:25:24Z</dcterms:modified>
</cp:coreProperties>
</file>